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49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8"/>
  </p:notesMasterIdLst>
  <p:handoutMasterIdLst>
    <p:handoutMasterId r:id="rId9"/>
  </p:handoutMasterIdLst>
  <p:sldIdLst>
    <p:sldId id="311" r:id="rId4"/>
    <p:sldId id="340" r:id="rId5"/>
    <p:sldId id="329" r:id="rId6"/>
    <p:sldId id="349" r:id="rId7"/>
  </p:sldIdLst>
  <p:sldSz cx="9906000" cy="6858000" type="A4"/>
  <p:notesSz cx="6896100" cy="10033000"/>
  <p:custDataLst>
    <p:tags r:id="rId10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09" d="100"/>
          <a:sy n="109" d="100"/>
        </p:scale>
        <p:origin x="-167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8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Hello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Hello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4" imgW="360" imgH="360" progId="">
              <p:embed/>
            </p:oleObj>
          </a:graphicData>
        </a:graphic>
      </p:graphicFrame>
      <p:pic>
        <p:nvPicPr>
          <p:cNvPr id="7" name="Picture 2" descr="Warsztat 8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40790" y="4437140"/>
            <a:ext cx="1838325" cy="1828800"/>
          </a:xfrm>
          <a:prstGeom prst="rect">
            <a:avLst/>
          </a:prstGeom>
          <a:noFill/>
        </p:spPr>
      </p:pic>
      <p:pic>
        <p:nvPicPr>
          <p:cNvPr id="8" name="Picture 4" descr="Warsztat 6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80490" y="4437140"/>
            <a:ext cx="1828800" cy="1828800"/>
          </a:xfrm>
          <a:prstGeom prst="rect">
            <a:avLst/>
          </a:prstGeom>
          <a:noFill/>
        </p:spPr>
      </p:pic>
      <p:pic>
        <p:nvPicPr>
          <p:cNvPr id="11" name="Picture 6" descr="Warsztat 10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529080" y="4437140"/>
            <a:ext cx="1838325" cy="1828800"/>
          </a:xfrm>
          <a:prstGeom prst="rect">
            <a:avLst/>
          </a:prstGeom>
          <a:noFill/>
        </p:spPr>
      </p:pic>
      <p:pic>
        <p:nvPicPr>
          <p:cNvPr id="12" name="Picture 8" descr="Warsztat 12+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89380" y="4509150"/>
            <a:ext cx="1838325" cy="1838325"/>
          </a:xfrm>
          <a:prstGeom prst="rect">
            <a:avLst/>
          </a:prstGeom>
          <a:noFill/>
        </p:spPr>
      </p:pic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28330" y="0"/>
            <a:ext cx="9906000" cy="1944270"/>
          </a:xfrm>
        </p:spPr>
        <p:txBody>
          <a:bodyPr/>
          <a:lstStyle/>
          <a:p>
            <a:r>
              <a:rPr lang="pl-PL" dirty="0" smtClean="0">
                <a:solidFill>
                  <a:schemeClr val="tx1"/>
                </a:solidFill>
              </a:rPr>
              <a:t>Witajcie!! </a:t>
            </a:r>
            <a:r>
              <a:rPr lang="pl-PL" dirty="0" smtClean="0">
                <a:solidFill>
                  <a:schemeClr val="tx1"/>
                </a:solidFill>
                <a:sym typeface="Wingdings" pitchFamily="2" charset="2"/>
              </a:rPr>
              <a:t></a:t>
            </a:r>
            <a:endParaRPr lang="en-GB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Plan dnia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Hello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136470" y="1268700"/>
          <a:ext cx="7694610" cy="4634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8539"/>
                <a:gridCol w="2305931"/>
                <a:gridCol w="1232296"/>
                <a:gridCol w="2080164"/>
                <a:gridCol w="997680"/>
              </a:tblGrid>
              <a:tr h="648090"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Kto?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Rano: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</a:t>
                      </a:r>
                    </a:p>
                    <a:p>
                      <a:r>
                        <a:rPr lang="pl-PL" baseline="0" dirty="0" smtClean="0">
                          <a:latin typeface="Comic Sans MS" pitchFamily="66" charset="0"/>
                        </a:rPr>
                        <a:t>10:15 – 12:45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Przerwa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Po południu:</a:t>
                      </a:r>
                    </a:p>
                    <a:p>
                      <a:r>
                        <a:rPr lang="pl-PL" dirty="0" smtClean="0">
                          <a:latin typeface="Comic Sans MS" pitchFamily="66" charset="0"/>
                        </a:rPr>
                        <a:t>13:15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– 16:00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l-PL" dirty="0" smtClean="0">
                          <a:latin typeface="Comic Sans MS" pitchFamily="66" charset="0"/>
                        </a:rPr>
                        <a:t>Koniec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</a:tr>
              <a:tr h="1078929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Jacek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&amp;</a:t>
                      </a:r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Tomek </a:t>
                      </a:r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Piotr &amp;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Tomek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B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R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A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W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O</a:t>
                      </a:r>
                    </a:p>
                    <a:p>
                      <a:pPr algn="ctr"/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!</a:t>
                      </a:r>
                    </a:p>
                    <a:p>
                      <a:pPr algn="ctr"/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</a:tr>
              <a:tr h="829946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Piotr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&amp; </a:t>
                      </a:r>
                    </a:p>
                    <a:p>
                      <a:pPr algn="ctr"/>
                      <a:r>
                        <a:rPr lang="pl-PL" baseline="0" dirty="0" smtClean="0">
                          <a:latin typeface="Comic Sans MS" pitchFamily="66" charset="0"/>
                        </a:rPr>
                        <a:t>Piotr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Krzyś &amp;</a:t>
                      </a:r>
                    </a:p>
                    <a:p>
                      <a:pPr algn="ctr"/>
                      <a:r>
                        <a:rPr lang="en-GB" dirty="0" smtClean="0">
                          <a:latin typeface="Comic Sans MS" pitchFamily="66" charset="0"/>
                        </a:rPr>
                        <a:t>Ł</a:t>
                      </a:r>
                      <a:r>
                        <a:rPr lang="pl-PL" dirty="0" err="1" smtClean="0">
                          <a:latin typeface="Comic Sans MS" pitchFamily="66" charset="0"/>
                        </a:rPr>
                        <a:t>ukasz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1078929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Krzyś &amp; 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Marcin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Comic Sans MS" pitchFamily="66" charset="0"/>
                        </a:rPr>
                        <a:t>Ł</a:t>
                      </a:r>
                      <a:r>
                        <a:rPr lang="pl-PL" dirty="0" err="1" smtClean="0">
                          <a:latin typeface="Comic Sans MS" pitchFamily="66" charset="0"/>
                        </a:rPr>
                        <a:t>ukasz</a:t>
                      </a:r>
                      <a:r>
                        <a:rPr lang="pl-PL" dirty="0" smtClean="0">
                          <a:latin typeface="Comic Sans MS" pitchFamily="66" charset="0"/>
                        </a:rPr>
                        <a:t> &amp; 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Piotr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829946">
                <a:tc>
                  <a:txBody>
                    <a:bodyPr/>
                    <a:lstStyle/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pl-PL" dirty="0" smtClean="0">
                        <a:latin typeface="Comic Sans MS" pitchFamily="66" charset="0"/>
                      </a:endParaRPr>
                    </a:p>
                    <a:p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Łukasz &amp;</a:t>
                      </a:r>
                      <a:r>
                        <a:rPr lang="pl-PL" baseline="0" dirty="0" smtClean="0">
                          <a:latin typeface="Comic Sans MS" pitchFamily="66" charset="0"/>
                        </a:rPr>
                        <a:t> </a:t>
                      </a:r>
                    </a:p>
                    <a:p>
                      <a:pPr algn="ctr"/>
                      <a:r>
                        <a:rPr lang="pl-PL" baseline="0" dirty="0" smtClean="0">
                          <a:latin typeface="Comic Sans MS" pitchFamily="66" charset="0"/>
                        </a:rPr>
                        <a:t>Łukasz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Jacek &amp;</a:t>
                      </a:r>
                    </a:p>
                    <a:p>
                      <a:pPr algn="ctr"/>
                      <a:r>
                        <a:rPr lang="pl-PL" dirty="0" smtClean="0">
                          <a:latin typeface="Comic Sans MS" pitchFamily="66" charset="0"/>
                        </a:rPr>
                        <a:t>Marcin</a:t>
                      </a:r>
                      <a:endParaRPr lang="en-GB" dirty="0">
                        <a:latin typeface="Comic Sans MS" pitchFamily="66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4" name="Picture 4" descr="Warsztat 6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52500" y="2060810"/>
            <a:ext cx="648090" cy="648090"/>
          </a:xfrm>
          <a:prstGeom prst="rect">
            <a:avLst/>
          </a:prstGeom>
          <a:noFill/>
        </p:spPr>
      </p:pic>
      <p:pic>
        <p:nvPicPr>
          <p:cNvPr id="15" name="Picture 2" descr="Warsztat 8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52500" y="3140960"/>
            <a:ext cx="648090" cy="644732"/>
          </a:xfrm>
          <a:prstGeom prst="rect">
            <a:avLst/>
          </a:prstGeom>
          <a:noFill/>
        </p:spPr>
      </p:pic>
      <p:pic>
        <p:nvPicPr>
          <p:cNvPr id="16" name="Picture 6" descr="Warsztat 10+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352500" y="4149100"/>
            <a:ext cx="648090" cy="644732"/>
          </a:xfrm>
          <a:prstGeom prst="rect">
            <a:avLst/>
          </a:prstGeom>
          <a:noFill/>
        </p:spPr>
      </p:pic>
      <p:pic>
        <p:nvPicPr>
          <p:cNvPr id="17" name="Picture 8" descr="Warsztat 12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352500" y="5229250"/>
            <a:ext cx="648090" cy="648090"/>
          </a:xfrm>
          <a:prstGeom prst="rect">
            <a:avLst/>
          </a:prstGeom>
          <a:noFill/>
        </p:spPr>
      </p:pic>
      <p:sp>
        <p:nvSpPr>
          <p:cNvPr id="137220" name="AutoShape 4" descr="https://encrypted-tbn1.gstatic.com/images?q=tbn:ANd9GcRvSkej9N26AR8Y8VDYktfJvFhHANx0HTY8dPp7v0XCMEMBxA-y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7222" name="AutoShape 6" descr="https://encrypted-tbn1.gstatic.com/images?q=tbn:ANd9GcRvSkej9N26AR8Y8VDYktfJvFhHANx0HTY8dPp7v0XCMEMBxA-y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37223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736970" y="3501010"/>
            <a:ext cx="864120" cy="849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6</Words>
  <Application>Microsoft Office PowerPoint</Application>
  <PresentationFormat>A4 Paper (210x297 mm)</PresentationFormat>
  <Paragraphs>48</Paragraphs>
  <Slides>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Blank</vt:lpstr>
      <vt:lpstr>Closing slides</vt:lpstr>
      <vt:lpstr>Section break</vt:lpstr>
      <vt:lpstr>think-cell Slide</vt:lpstr>
      <vt:lpstr>Witajcie!! </vt:lpstr>
      <vt:lpstr>Plan dnia</vt:lpstr>
      <vt:lpstr>Slide 3</vt:lpstr>
      <vt:lpstr>Slide 4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laszkiewicz</cp:lastModifiedBy>
  <cp:revision>36</cp:revision>
  <dcterms:created xsi:type="dcterms:W3CDTF">2014-10-21T19:55:20Z</dcterms:created>
  <dcterms:modified xsi:type="dcterms:W3CDTF">2014-11-28T20:11:50Z</dcterms:modified>
</cp:coreProperties>
</file>